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2" r:id="rId3"/>
    <p:sldId id="400" r:id="rId4"/>
    <p:sldId id="396" r:id="rId5"/>
    <p:sldId id="401" r:id="rId6"/>
    <p:sldId id="397" r:id="rId7"/>
    <p:sldId id="398" r:id="rId8"/>
    <p:sldId id="399" r:id="rId9"/>
    <p:sldId id="266" r:id="rId10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9" autoAdjust="0"/>
    <p:restoredTop sz="94660"/>
  </p:normalViewPr>
  <p:slideViewPr>
    <p:cSldViewPr snapToGrid="0">
      <p:cViewPr varScale="1">
        <p:scale>
          <a:sx n="63" d="100"/>
          <a:sy n="63" d="100"/>
        </p:scale>
        <p:origin x="101" y="4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2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0813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대출금 상환 문제 원인 도출을 통한 고객 </a:t>
            </a:r>
            <a:r>
              <a:rPr lang="ko-KR" altLang="en-US" sz="4000" b="0" i="0" dirty="0" err="1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연체율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감소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1D8AFB3-F74C-061B-49EB-B5D62A58278C}"/>
              </a:ext>
            </a:extLst>
          </p:cNvPr>
          <p:cNvSpPr/>
          <p:nvPr/>
        </p:nvSpPr>
        <p:spPr>
          <a:xfrm>
            <a:off x="443100" y="3015857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22104" y="866609"/>
            <a:ext cx="10457406" cy="70754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ko-KR" altLang="en-US" sz="2000" dirty="0">
                <a:solidFill>
                  <a:srgbClr val="0000FF"/>
                </a:solidFill>
              </a:rPr>
              <a:t> 금융업의 특성상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</a:rPr>
              <a:t>고객의 대출상환금이 연체됨에 따라 은행 신용도가 하락하게 되나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</a:p>
          <a:p>
            <a:r>
              <a:rPr lang="ko-KR" altLang="en-US" sz="2000" dirty="0">
                <a:solidFill>
                  <a:srgbClr val="0000FF"/>
                </a:solidFill>
              </a:rPr>
              <a:t>  당사의 경우 연체율이 지속적으로 증가함에 따라 은행 신용도 유지를 위한 활동이 필요</a:t>
            </a:r>
            <a:endParaRPr lang="en-US" altLang="ko-KR" sz="2000" dirty="0">
              <a:solidFill>
                <a:srgbClr val="0000FF"/>
              </a:solidFill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6329F1B2-1A92-8F73-AAD9-018390B030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62748" cy="306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C271D79E-60B0-7EA6-0BBA-7E50DCB3D0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980614" cy="980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99A6C16D-A9BF-B9DE-AAF2-4F17DA50D46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DE7636-C179-E083-8256-2976EB418646}"/>
              </a:ext>
            </a:extLst>
          </p:cNvPr>
          <p:cNvSpPr txBox="1"/>
          <p:nvPr/>
        </p:nvSpPr>
        <p:spPr>
          <a:xfrm>
            <a:off x="948192" y="3518550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/>
              <a:t>그래프</a:t>
            </a:r>
            <a:r>
              <a:rPr lang="en-US" altLang="ko-KR" sz="1400" dirty="0"/>
              <a:t>, </a:t>
            </a:r>
            <a:r>
              <a:rPr lang="ko-KR" altLang="en-US" sz="1400" dirty="0"/>
              <a:t>그림</a:t>
            </a:r>
            <a:r>
              <a:rPr lang="en-US" altLang="ko-KR" sz="1400" dirty="0"/>
              <a:t>, </a:t>
            </a:r>
            <a:r>
              <a:rPr lang="ko-KR" altLang="en-US" sz="1400" dirty="0"/>
              <a:t>도형</a:t>
            </a:r>
            <a:r>
              <a:rPr lang="en-US" altLang="ko-KR" sz="1400" dirty="0"/>
              <a:t>, </a:t>
            </a:r>
            <a:r>
              <a:rPr lang="ko-KR" altLang="en-US" sz="1400" dirty="0"/>
              <a:t>표</a:t>
            </a:r>
            <a:r>
              <a:rPr lang="en-US" altLang="ko-KR" sz="1400" dirty="0"/>
              <a:t>,</a:t>
            </a:r>
            <a:r>
              <a:rPr lang="ko-KR" altLang="en-US" sz="1400" dirty="0"/>
              <a:t>설명자료</a:t>
            </a:r>
            <a:endParaRPr lang="en-US" altLang="ko-KR" sz="1400" dirty="0"/>
          </a:p>
          <a:p>
            <a:endParaRPr lang="en-US" altLang="ko-KR" sz="1400" dirty="0"/>
          </a:p>
          <a:p>
            <a:endParaRPr lang="ko-KR" altLang="en-US" sz="1400" dirty="0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E7D5509-D68B-0E00-4CD6-9C8C41E971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4346" y="1685642"/>
            <a:ext cx="5016376" cy="4079141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3849BC0A-F3DA-D64D-79DB-511CE9BDC5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1264"/>
          <a:stretch/>
        </p:blipFill>
        <p:spPr>
          <a:xfrm>
            <a:off x="166233" y="2241059"/>
            <a:ext cx="6459759" cy="403231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99273EEC-804B-9BEC-6667-AA5E601D3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0600" y="4298436"/>
            <a:ext cx="1799256" cy="1308549"/>
          </a:xfrm>
          <a:prstGeom prst="rect">
            <a:avLst/>
          </a:prstGeo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887" y="1685642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은행별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고객의 대출금은 증가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그러나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신규 </a:t>
            </a: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또한 동시에 증가하고 있음</a:t>
            </a:r>
            <a:r>
              <a:rPr lang="en-US" altLang="ko-KR" sz="1600" kern="0" dirty="0">
                <a:solidFill>
                  <a:srgbClr val="000000"/>
                </a:solidFill>
                <a:latin typeface="+mn-ea"/>
                <a:ea typeface="+mn-ea"/>
              </a:rPr>
              <a:t>.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22104" y="866609"/>
            <a:ext cx="10457406" cy="707545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Char char="•"/>
            </a:pPr>
            <a:r>
              <a:rPr lang="ko-KR" altLang="en-US" sz="2000" dirty="0">
                <a:solidFill>
                  <a:srgbClr val="0000FF"/>
                </a:solidFill>
              </a:rPr>
              <a:t> 금융업의 특성상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  <a:r>
              <a:rPr lang="ko-KR" altLang="en-US" sz="2000" dirty="0">
                <a:solidFill>
                  <a:srgbClr val="0000FF"/>
                </a:solidFill>
              </a:rPr>
              <a:t>고객의 대출상환금이 연체됨에 따라 은행 신용도가 하락하게 되나</a:t>
            </a:r>
            <a:r>
              <a:rPr lang="en-US" altLang="ko-KR" sz="2000" dirty="0">
                <a:solidFill>
                  <a:srgbClr val="0000FF"/>
                </a:solidFill>
              </a:rPr>
              <a:t>, </a:t>
            </a:r>
          </a:p>
          <a:p>
            <a:r>
              <a:rPr lang="ko-KR" altLang="en-US" sz="2000" dirty="0">
                <a:solidFill>
                  <a:srgbClr val="0000FF"/>
                </a:solidFill>
              </a:rPr>
              <a:t>  당사의 경우 연체율이 지속적으로 증가함에 따라 은행 신용도 유지를 위한 활동이 필요</a:t>
            </a:r>
            <a:endParaRPr lang="en-US" altLang="ko-KR" sz="2000" dirty="0">
              <a:solidFill>
                <a:srgbClr val="0000FF"/>
              </a:solidFill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8887" y="1685642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713746B6-5D0D-DEB4-E6A7-F4E127E54C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B7C1CEB-7DC4-D2E9-50C6-58BCC137ABC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8886" y="1629873"/>
            <a:ext cx="9331325" cy="493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당사의 대출금액 연체율은 분기마다 증가하여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4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분기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9.2%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를 기록하며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증가로 인해 경영위기감이 증대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되었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음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. 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91306311-6F74-3335-A650-DCCE7EC8C0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31FC848E-B8FE-615B-1395-1436900AF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4548" y="2123046"/>
            <a:ext cx="6960311" cy="4642154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6AF7BBCA-53C4-2387-F62C-5E1933496A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104" y="2356124"/>
            <a:ext cx="5016376" cy="4079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590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119409-8BAD-F798-74CF-FAAAF78CA08C}"/>
              </a:ext>
            </a:extLst>
          </p:cNvPr>
          <p:cNvSpPr txBox="1"/>
          <p:nvPr/>
        </p:nvSpPr>
        <p:spPr>
          <a:xfrm>
            <a:off x="1093847" y="3085547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138A6B-E713-44FF-0D90-176ADFA0764B}"/>
              </a:ext>
            </a:extLst>
          </p:cNvPr>
          <p:cNvSpPr txBox="1"/>
          <p:nvPr/>
        </p:nvSpPr>
        <p:spPr>
          <a:xfrm>
            <a:off x="5806914" y="307927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90957" y="826303"/>
            <a:ext cx="9210060" cy="342688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주식</a:t>
            </a:r>
            <a:r>
              <a:rPr lang="en-US" altLang="ko-KR" sz="2000" b="1" dirty="0">
                <a:solidFill>
                  <a:prstClr val="black"/>
                </a:solidFill>
              </a:rPr>
              <a:t>, </a:t>
            </a:r>
            <a:r>
              <a:rPr lang="ko-KR" altLang="en-US" sz="2000" b="1" dirty="0">
                <a:solidFill>
                  <a:prstClr val="black"/>
                </a:solidFill>
              </a:rPr>
              <a:t>코인 투자를 목적으로 한 대출의 증가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90957" y="3625609"/>
            <a:ext cx="9210060" cy="315304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소액 대출의 등장과 </a:t>
            </a:r>
            <a:r>
              <a:rPr lang="en-US" altLang="ko-KR" sz="2000" b="1" dirty="0">
                <a:solidFill>
                  <a:prstClr val="black"/>
                </a:solidFill>
              </a:rPr>
              <a:t>20</a:t>
            </a:r>
            <a:r>
              <a:rPr lang="ko-KR" altLang="en-US" sz="2000" b="1" dirty="0">
                <a:solidFill>
                  <a:prstClr val="black"/>
                </a:solidFill>
              </a:rPr>
              <a:t>대 고객 접근성 증가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506" y="4000020"/>
            <a:ext cx="11543869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소액 대출의 등장에 따라</a:t>
            </a:r>
            <a:r>
              <a:rPr lang="en-US" altLang="ko-KR" sz="1600" kern="0" dirty="0">
                <a:solidFill>
                  <a:srgbClr val="000000"/>
                </a:solidFill>
              </a:rPr>
              <a:t> 20</a:t>
            </a:r>
            <a:r>
              <a:rPr lang="ko-KR" altLang="en-US" sz="1600" kern="0" dirty="0">
                <a:solidFill>
                  <a:srgbClr val="000000"/>
                </a:solidFill>
              </a:rPr>
              <a:t>대 고객의 접근성이 증가하였고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대출 </a:t>
            </a:r>
            <a:r>
              <a:rPr lang="ko-KR" altLang="en-US" sz="1600" kern="0" dirty="0" err="1">
                <a:solidFill>
                  <a:srgbClr val="000000"/>
                </a:solidFill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</a:rPr>
              <a:t> 또한 급격한 증가를 보이고 있음</a:t>
            </a:r>
            <a:r>
              <a:rPr lang="en-US" altLang="ko-KR" sz="1600" kern="0" dirty="0">
                <a:solidFill>
                  <a:srgbClr val="000000"/>
                </a:solidFill>
              </a:rPr>
              <a:t>. 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77C0DC8F-FD32-D67F-FEDF-87FC3D9A9A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6395" y="1485810"/>
            <a:ext cx="3772566" cy="2136548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527FD1B-13D6-6208-F943-1FF9E35B8D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0585" y="1494394"/>
            <a:ext cx="3321049" cy="2018078"/>
          </a:xfrm>
          <a:prstGeom prst="rect">
            <a:avLst/>
          </a:prstGeom>
        </p:spPr>
      </p:pic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0957" y="1258020"/>
            <a:ext cx="1064913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주식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코인 투자를 목적으로 한 대출이 한국에서 유행하며</a:t>
            </a:r>
            <a:r>
              <a:rPr lang="en-US" altLang="ko-KR" sz="1600" kern="0" dirty="0">
                <a:solidFill>
                  <a:srgbClr val="000000"/>
                </a:solidFill>
              </a:rPr>
              <a:t>, </a:t>
            </a:r>
            <a:r>
              <a:rPr lang="ko-KR" altLang="en-US" sz="1600" kern="0" dirty="0">
                <a:solidFill>
                  <a:srgbClr val="000000"/>
                </a:solidFill>
              </a:rPr>
              <a:t> 계획적이지 않은 대출은 연체율로 이어지게 됨</a:t>
            </a:r>
            <a:r>
              <a:rPr lang="en-US" altLang="ko-KR" sz="1600" kern="0" dirty="0">
                <a:solidFill>
                  <a:srgbClr val="000000"/>
                </a:solidFill>
              </a:rPr>
              <a:t>. 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28B52DA7-F4A7-DAB8-06DE-A950828E2D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332" y="4299164"/>
            <a:ext cx="4234595" cy="300766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AC66FCC6-215C-EE29-42A2-14195D983B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7490" y="4299164"/>
            <a:ext cx="4581832" cy="264396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118260" y="119528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ko-KR" altLang="en-US" sz="18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기술</a:t>
            </a:r>
            <a:r>
              <a:rPr lang="ko-KR" altLang="en-US" dirty="0">
                <a:solidFill>
                  <a:srgbClr val="FF0000"/>
                </a:solidFill>
              </a:rPr>
              <a:t> </a:t>
            </a:r>
            <a:r>
              <a:rPr lang="en-US" altLang="ko-KR" dirty="0">
                <a:solidFill>
                  <a:srgbClr val="FF0000"/>
                </a:solidFill>
              </a:rPr>
              <a:t> </a:t>
            </a:r>
            <a:r>
              <a:rPr lang="ko-KR" altLang="en-US" dirty="0">
                <a:solidFill>
                  <a:srgbClr val="FF0000"/>
                </a:solidFill>
              </a:rPr>
              <a:t>과제 수행을 통하여 달성하고자 하는 성과지표를 도출하고 목표를 설정 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366816" y="948564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2000" b="1" dirty="0">
                <a:solidFill>
                  <a:prstClr val="black"/>
                </a:solidFill>
              </a:rPr>
              <a:t>대출금 상환 문제 원인 도출 및 </a:t>
            </a:r>
            <a:r>
              <a:rPr lang="ko-KR" altLang="en-US" sz="20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2000" b="1" dirty="0">
                <a:solidFill>
                  <a:prstClr val="black"/>
                </a:solidFill>
              </a:rPr>
              <a:t> 감소</a:t>
            </a:r>
            <a:endParaRPr lang="ko-KR" altLang="en-US" sz="20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6816" y="1617065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pic>
        <p:nvPicPr>
          <p:cNvPr id="3" name="table">
            <a:extLst>
              <a:ext uri="{FF2B5EF4-FFF2-40B4-BE49-F238E27FC236}">
                <a16:creationId xmlns:a16="http://schemas.microsoft.com/office/drawing/2014/main" id="{968C6761-0B73-A559-5A3A-5045F483BA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021" y="2130375"/>
            <a:ext cx="11335050" cy="2471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451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7" y="919706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주어진 데이터에 대한 품질특성을 확인하고 정제내용 및 파생변수 생성 내용을 작성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6" y="16424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B73882-1854-ED58-B24C-92CDED3E8420}"/>
              </a:ext>
            </a:extLst>
          </p:cNvPr>
          <p:cNvSpPr/>
          <p:nvPr/>
        </p:nvSpPr>
        <p:spPr>
          <a:xfrm>
            <a:off x="774794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0A26DD1-C8CE-44D5-4BBF-E18C99201422}"/>
              </a:ext>
            </a:extLst>
          </p:cNvPr>
          <p:cNvSpPr/>
          <p:nvPr/>
        </p:nvSpPr>
        <p:spPr>
          <a:xfrm>
            <a:off x="5520358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2CEDC4-0276-3478-AA4A-C8C981210786}"/>
              </a:ext>
            </a:extLst>
          </p:cNvPr>
          <p:cNvSpPr txBox="1"/>
          <p:nvPr/>
        </p:nvSpPr>
        <p:spPr>
          <a:xfrm>
            <a:off x="1353823" y="255123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965CB-0DCA-2BF8-164F-A38F901A4A41}"/>
              </a:ext>
            </a:extLst>
          </p:cNvPr>
          <p:cNvSpPr txBox="1"/>
          <p:nvPr/>
        </p:nvSpPr>
        <p:spPr>
          <a:xfrm>
            <a:off x="6066890" y="2544965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12839"/>
              </p:ext>
            </p:extLst>
          </p:nvPr>
        </p:nvGraphicFramePr>
        <p:xfrm>
          <a:off x="766120" y="3853948"/>
          <a:ext cx="10251504" cy="1986480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-3401568" y="2852928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314729"/>
              </p:ext>
            </p:extLst>
          </p:nvPr>
        </p:nvGraphicFramePr>
        <p:xfrm>
          <a:off x="653553" y="1395036"/>
          <a:ext cx="10613923" cy="4725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66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78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들의 분포 특성 및 이상치 확인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oxplo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gram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상환 여부에 영향을 미치는 인자 도출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-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액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현재 자산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기존 모기지 금액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계좌유지기간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신용한도점수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부채비율 별 대출 상환 여부 파악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과 대출 금액 간의 연관 분석 수행 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대출 </a:t>
                      </a:r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연차별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대출상환여부 확인을 위한 동일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신용한도별 대출상환여부 확인을 위한 동일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</TotalTime>
  <Words>444</Words>
  <Application>Microsoft Office PowerPoint</Application>
  <PresentationFormat>와이드스크린</PresentationFormat>
  <Paragraphs>79</Paragraphs>
  <Slides>9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4" baseType="lpstr">
      <vt:lpstr>NotoSansKR</vt:lpstr>
      <vt:lpstr>맑은 고딕</vt:lpstr>
      <vt:lpstr>Arial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2</cp:lastModifiedBy>
  <cp:revision>8</cp:revision>
  <dcterms:created xsi:type="dcterms:W3CDTF">2023-11-18T01:07:46Z</dcterms:created>
  <dcterms:modified xsi:type="dcterms:W3CDTF">2024-07-22T08:44:22Z</dcterms:modified>
</cp:coreProperties>
</file>